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18"/>
  </p:notesMasterIdLst>
  <p:handoutMasterIdLst>
    <p:handoutMasterId r:id="rId19"/>
  </p:handoutMasterIdLst>
  <p:sldIdLst>
    <p:sldId id="258" r:id="rId8"/>
    <p:sldId id="339" r:id="rId9"/>
    <p:sldId id="259" r:id="rId10"/>
    <p:sldId id="817" r:id="rId11"/>
    <p:sldId id="814" r:id="rId12"/>
    <p:sldId id="818" r:id="rId13"/>
    <p:sldId id="809" r:id="rId14"/>
    <p:sldId id="820" r:id="rId15"/>
    <p:sldId id="511" r:id="rId16"/>
    <p:sldId id="418" r:id="rId17"/>
  </p:sldIdLst>
  <p:sldSz cx="9215438" cy="5184775"/>
  <p:notesSz cx="6805613" cy="9939338"/>
  <p:custDataLst>
    <p:tags r:id="rId20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7"/>
            <p14:sldId id="814"/>
            <p14:sldId id="818"/>
            <p14:sldId id="809"/>
            <p14:sldId id="820"/>
            <p14:sldId id="511"/>
            <p14:sldId id="418"/>
          </p14:sldIdLst>
        </p14:section>
        <p14:section name="REFERENCES" id="{88508D9C-F6AC-F84F-9A5F-4800ADA716FF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96D6"/>
    <a:srgbClr val="F6BCBC"/>
    <a:srgbClr val="C850BF"/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80633" autoAdjust="0"/>
  </p:normalViewPr>
  <p:slideViewPr>
    <p:cSldViewPr snapToGrid="0" snapToObjects="1" showGuides="1">
      <p:cViewPr varScale="1">
        <p:scale>
          <a:sx n="151" d="100"/>
          <a:sy n="151" d="100"/>
        </p:scale>
        <p:origin x="306" y="13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45840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0" Type="http://schemas.openxmlformats.org/officeDocument/2006/relationships/slideLayout" Target="../slideLayouts/slideLayout196.xml"/><Relationship Id="rId41" Type="http://schemas.openxmlformats.org/officeDocument/2006/relationships/slideLayout" Target="../slideLayouts/slideLayout2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286.xml"/><Relationship Id="rId41" Type="http://schemas.openxmlformats.org/officeDocument/2006/relationships/slideLayout" Target="../slideLayouts/slideLayout3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4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30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media" Target="../media/media2.mp3"/><Relationship Id="rId7" Type="http://schemas.openxmlformats.org/officeDocument/2006/relationships/image" Target="../media/image1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230.xml"/><Relationship Id="rId4" Type="http://schemas.openxmlformats.org/officeDocument/2006/relationships/audio" Target="../media/media2.mp3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media" Target="../media/media2.mp3"/><Relationship Id="rId7" Type="http://schemas.openxmlformats.org/officeDocument/2006/relationships/image" Target="../media/image17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230.xml"/><Relationship Id="rId4" Type="http://schemas.openxmlformats.org/officeDocument/2006/relationships/audio" Target="../media/media2.mp3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C496D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Patatas y Drago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ePunch</a:t>
            </a:r>
            <a:r>
              <a:rPr lang="en-US" b="1" dirty="0"/>
              <a:t>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2" name="Picture 4" descr="Resultado de imagen de boxeo wallpap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" y="0"/>
            <a:ext cx="9213783" cy="5758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560" y="3085332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rgbClr val="C496D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rgbClr val="C496D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496D6"/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8069" y="4021869"/>
            <a:ext cx="2304122" cy="576263"/>
          </a:xfrm>
        </p:spPr>
        <p:txBody>
          <a:bodyPr/>
          <a:lstStyle/>
          <a:p>
            <a:r>
              <a:rPr lang="en-GB" dirty="0" err="1"/>
              <a:t>Josep</a:t>
            </a:r>
            <a:r>
              <a:rPr lang="en-GB" dirty="0"/>
              <a:t> Antoni costa camps</a:t>
            </a:r>
          </a:p>
          <a:p>
            <a:r>
              <a:rPr lang="en-GB" dirty="0"/>
              <a:t>software engineer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8628" y="4021868"/>
            <a:ext cx="2304122" cy="576263"/>
          </a:xfrm>
        </p:spPr>
        <p:txBody>
          <a:bodyPr/>
          <a:lstStyle/>
          <a:p>
            <a:r>
              <a:rPr lang="en-GB" dirty="0" err="1"/>
              <a:t>Oriol</a:t>
            </a:r>
            <a:r>
              <a:rPr lang="en-GB" dirty="0"/>
              <a:t> </a:t>
            </a:r>
            <a:r>
              <a:rPr lang="en-GB" dirty="0" err="1"/>
              <a:t>alás</a:t>
            </a:r>
            <a:r>
              <a:rPr lang="en-GB" dirty="0"/>
              <a:t> CERCÓS</a:t>
            </a:r>
          </a:p>
          <a:p>
            <a:r>
              <a:rPr lang="en-GB" dirty="0"/>
              <a:t>Computer scie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9187" y="4021478"/>
            <a:ext cx="2304122" cy="576263"/>
          </a:xfrm>
        </p:spPr>
        <p:txBody>
          <a:bodyPr/>
          <a:lstStyle/>
          <a:p>
            <a:r>
              <a:rPr lang="en-GB" dirty="0" err="1"/>
              <a:t>Aarón</a:t>
            </a:r>
            <a:r>
              <a:rPr lang="en-GB" dirty="0"/>
              <a:t> Acosta </a:t>
            </a:r>
            <a:r>
              <a:rPr lang="en-GB" dirty="0" err="1"/>
              <a:t>fernández</a:t>
            </a:r>
            <a:endParaRPr lang="en-GB" dirty="0"/>
          </a:p>
          <a:p>
            <a:r>
              <a:rPr lang="en-GB" dirty="0"/>
              <a:t>Computer science </a:t>
            </a:r>
          </a:p>
          <a:p>
            <a:endParaRPr lang="en-GB" dirty="0"/>
          </a:p>
        </p:txBody>
      </p:sp>
      <p:pic>
        <p:nvPicPr>
          <p:cNvPr id="18" name="Marcador de posición de imagen 17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r="4474"/>
          <a:stretch>
            <a:fillRect/>
          </a:stretch>
        </p:blipFill>
        <p:spPr>
          <a:xfrm>
            <a:off x="347663" y="998538"/>
            <a:ext cx="2071687" cy="3033712"/>
          </a:xfrm>
        </p:spPr>
      </p:pic>
      <p:pic>
        <p:nvPicPr>
          <p:cNvPr id="7" name="Marcador de posición de imagen 6"/>
          <p:cNvPicPr>
            <a:picLocks noGrp="1" noChangeAspect="1"/>
          </p:cNvPicPr>
          <p:nvPr>
            <p:ph type="pic" sz="quarter" idx="2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9" r="4499"/>
          <a:stretch>
            <a:fillRect/>
          </a:stretch>
        </p:blipFill>
        <p:spPr>
          <a:xfrm>
            <a:off x="4704614" y="998303"/>
            <a:ext cx="2074862" cy="3033713"/>
          </a:xfr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7" r="19454"/>
          <a:stretch/>
        </p:blipFill>
        <p:spPr>
          <a:xfrm>
            <a:off x="6888163" y="998303"/>
            <a:ext cx="2071687" cy="3011828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 txBox="1">
            <a:spLocks/>
          </p:cNvSpPr>
          <p:nvPr/>
        </p:nvSpPr>
        <p:spPr bwMode="gray">
          <a:xfrm>
            <a:off x="6878088" y="4021866"/>
            <a:ext cx="2304122" cy="576263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+mj-lt"/>
              <a:buNone/>
              <a:defRPr sz="1000" b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hausDIN" panose="020B0504020101020102" pitchFamily="34" charset="0"/>
              <a:buNone/>
              <a:defRPr sz="1000" kern="1200" cap="all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SzPct val="90000"/>
              <a:buFont typeface="adineue PRO" pitchFamily="34" charset="0"/>
              <a:buNone/>
              <a:tabLst>
                <a:tab pos="990230" algn="l"/>
              </a:tabLst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i="0" kern="1200" cap="all" baseline="0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 typeface="+mj-lt"/>
              <a:buNone/>
              <a:tabLst>
                <a:tab pos="990269" algn="l"/>
              </a:tabLst>
              <a:defRPr sz="1000" b="0" kern="1200" cap="all">
                <a:solidFill>
                  <a:schemeClr val="tx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n-GB" dirty="0"/>
              <a:t>Paula Gallucci </a:t>
            </a:r>
            <a:r>
              <a:rPr lang="en-GB" dirty="0" err="1"/>
              <a:t>zurita</a:t>
            </a:r>
            <a:endParaRPr lang="en-GB" dirty="0"/>
          </a:p>
          <a:p>
            <a:pPr defTabSz="914400"/>
            <a:r>
              <a:rPr lang="en-GB" dirty="0"/>
              <a:t>Computer science </a:t>
            </a:r>
          </a:p>
          <a:p>
            <a:pPr defTabSz="914400"/>
            <a:endParaRPr lang="en-GB" dirty="0"/>
          </a:p>
        </p:txBody>
      </p:sp>
      <p:pic>
        <p:nvPicPr>
          <p:cNvPr id="17" name="Marcador de posición de imagen 16">
            <a:extLst>
              <a:ext uri="{FF2B5EF4-FFF2-40B4-BE49-F238E27FC236}">
                <a16:creationId xmlns:a16="http://schemas.microsoft.com/office/drawing/2014/main" id="{667B5FF1-8F11-4C9B-A661-7058FD3EC4D6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6"/>
          <a:srcRect l="13800" t="4136" r="6638" b="4136"/>
          <a:stretch/>
        </p:blipFill>
        <p:spPr>
          <a:xfrm>
            <a:off x="2525915" y="919731"/>
            <a:ext cx="2061281" cy="3168972"/>
          </a:xfr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AC4E62A1-86A9-4796-A9F0-D50247CD47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11209" y="0"/>
            <a:ext cx="11037858" cy="5184775"/>
          </a:xfrm>
          <a:prstGeom prst="rect">
            <a:avLst/>
          </a:prstGeom>
        </p:spPr>
      </p:pic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b="1" dirty="0">
                <a:solidFill>
                  <a:srgbClr val="C496D6"/>
                </a:solidFill>
              </a:rPr>
              <a:t>AGENDA</a:t>
            </a:r>
            <a:endParaRPr lang="en-US" b="1" dirty="0">
              <a:solidFill>
                <a:srgbClr val="C496D6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rial Black" panose="020B0A04020102020204" pitchFamily="34" charset="0"/>
              </a:rPr>
              <a:t>THE STORY</a:t>
            </a:r>
          </a:p>
          <a:p>
            <a:r>
              <a:rPr lang="de-DE" sz="2000" b="1" dirty="0">
                <a:latin typeface="Arial Black" panose="020B0A04020102020204" pitchFamily="34" charset="0"/>
              </a:rPr>
              <a:t>FOCUS</a:t>
            </a:r>
          </a:p>
          <a:p>
            <a:r>
              <a:rPr lang="de-DE" sz="2000" b="1" dirty="0">
                <a:latin typeface="Arial Black" panose="020B0A04020102020204" pitchFamily="34" charset="0"/>
              </a:rPr>
              <a:t>VALUE</a:t>
            </a:r>
          </a:p>
          <a:p>
            <a:r>
              <a:rPr lang="de-DE" sz="2000" b="1" dirty="0">
                <a:latin typeface="Arial Black" panose="020B0A04020102020204" pitchFamily="34" charset="0"/>
              </a:rPr>
              <a:t>DEMO</a:t>
            </a:r>
          </a:p>
          <a:p>
            <a:r>
              <a:rPr lang="de-DE" sz="2000" b="1" dirty="0">
                <a:latin typeface="Arial Black" panose="020B0A04020102020204" pitchFamily="34" charset="0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rgbClr val="C496D6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1953A96-D07A-4AEA-93EF-9565BED306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70" t="7711" r="-8" b="36027"/>
          <a:stretch/>
        </p:blipFill>
        <p:spPr>
          <a:xfrm>
            <a:off x="0" y="0"/>
            <a:ext cx="9215438" cy="554291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464" y="785182"/>
            <a:ext cx="5758921" cy="287336"/>
          </a:xfrm>
        </p:spPr>
        <p:txBody>
          <a:bodyPr/>
          <a:lstStyle/>
          <a:p>
            <a:r>
              <a:rPr lang="en-US" sz="2000" b="1" dirty="0"/>
              <a:t>THE STO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8020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5D13DC49-B7A7-4EBE-B694-6CC528F63A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60" t="7881" b="7207"/>
          <a:stretch/>
        </p:blipFill>
        <p:spPr>
          <a:xfrm>
            <a:off x="0" y="0"/>
            <a:ext cx="9215438" cy="55428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464" y="785182"/>
            <a:ext cx="5758921" cy="287336"/>
          </a:xfrm>
        </p:spPr>
        <p:txBody>
          <a:bodyPr/>
          <a:lstStyle/>
          <a:p>
            <a:r>
              <a:rPr lang="en-US" sz="2000" b="1" dirty="0"/>
              <a:t>THE DEVELOPM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E90961B8-96E5-4FEE-9848-1040C2971B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3755" y="1291880"/>
            <a:ext cx="2739710" cy="147955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7B327D01-8A1E-4781-BE13-1D84D3492F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775" y="2789986"/>
            <a:ext cx="1778694" cy="147955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EBD9B150-B05B-4787-956E-A7CA4E8E49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7069" y="2990792"/>
            <a:ext cx="1152792" cy="115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00BF8B5-24AE-47F1-9C36-830585CD06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95" y="0"/>
            <a:ext cx="9215438" cy="518303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464" y="785182"/>
            <a:ext cx="5758921" cy="287336"/>
          </a:xfrm>
        </p:spPr>
        <p:txBody>
          <a:bodyPr/>
          <a:lstStyle/>
          <a:p>
            <a:r>
              <a:rPr lang="en-US" sz="2000" b="1" dirty="0"/>
              <a:t>THE VALU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6679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729" y="303217"/>
            <a:ext cx="5758921" cy="287336"/>
          </a:xfrm>
        </p:spPr>
        <p:txBody>
          <a:bodyPr/>
          <a:lstStyle/>
          <a:p>
            <a:r>
              <a:rPr lang="en-US" sz="3200" b="1" dirty="0" smtClean="0">
                <a:solidFill>
                  <a:srgbClr val="C496D6"/>
                </a:solidFill>
              </a:rPr>
              <a:t>DEMO </a:t>
            </a:r>
            <a:r>
              <a:rPr lang="en-US" sz="3200" b="1" dirty="0" err="1" smtClean="0">
                <a:solidFill>
                  <a:srgbClr val="C496D6"/>
                </a:solidFill>
              </a:rPr>
              <a:t>i</a:t>
            </a:r>
            <a:endParaRPr lang="en-US" b="1" dirty="0">
              <a:solidFill>
                <a:srgbClr val="C496D6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3" name="Test de funciona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87224" y="590553"/>
            <a:ext cx="7839401" cy="4409241"/>
          </a:xfrm>
          <a:prstGeom prst="rect">
            <a:avLst/>
          </a:prstGeom>
        </p:spPr>
      </p:pic>
      <p:pic>
        <p:nvPicPr>
          <p:cNvPr id="2" name="musicaBG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77624" y="29969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33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audio>
              <p:cMediaNode vol="80000" showWhenStopped="0">
                <p:cTn id="13" repeatCount="indefinite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729" y="303217"/>
            <a:ext cx="5758921" cy="287336"/>
          </a:xfrm>
        </p:spPr>
        <p:txBody>
          <a:bodyPr/>
          <a:lstStyle/>
          <a:p>
            <a:r>
              <a:rPr lang="en-US" sz="3200" b="1" dirty="0" smtClean="0">
                <a:solidFill>
                  <a:srgbClr val="C496D6"/>
                </a:solidFill>
              </a:rPr>
              <a:t>DEMO II</a:t>
            </a:r>
            <a:endParaRPr lang="en-US" b="1" dirty="0">
              <a:solidFill>
                <a:srgbClr val="C496D6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2" name="Test de no hace tonteria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9215438" cy="5183188"/>
          </a:xfrm>
          <a:prstGeom prst="rect">
            <a:avLst/>
          </a:prstGeom>
        </p:spPr>
      </p:pic>
      <p:pic>
        <p:nvPicPr>
          <p:cNvPr id="8" name="musicaBG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82424" y="14208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6563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335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audio>
              <p:cMediaNode vol="80000" showWhenStopped="0">
                <p:cTn id="13" repeatCount="indefinite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rgbClr val="C496D6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rgbClr val="C850BF"/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rgbClr val="C850BF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rgbClr val="C496D6"/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884824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rgbClr val="F6BCBC"/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985</TotalTime>
  <Words>88</Words>
  <Application>Microsoft Office PowerPoint</Application>
  <PresentationFormat>Personalizado</PresentationFormat>
  <Paragraphs>43</Paragraphs>
  <Slides>10</Slides>
  <Notes>5</Notes>
  <HiddenSlides>0</HiddenSlides>
  <MMClips>4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33" baseType="lpstr">
      <vt:lpstr>AdihausDIN</vt:lpstr>
      <vt:lpstr>AdihausDIN Cn</vt:lpstr>
      <vt:lpstr>adineue PRO</vt:lpstr>
      <vt:lpstr>adineue PRO Black</vt:lpstr>
      <vt:lpstr>adineue PRO Ligh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Arial Black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Patatas y Dragones</vt:lpstr>
      <vt:lpstr>Team members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Paula Gallucci</cp:lastModifiedBy>
  <cp:revision>156</cp:revision>
  <cp:lastPrinted>2015-05-04T06:43:15Z</cp:lastPrinted>
  <dcterms:created xsi:type="dcterms:W3CDTF">2019-03-09T19:27:14Z</dcterms:created>
  <dcterms:modified xsi:type="dcterms:W3CDTF">2019-03-24T07:53:20Z</dcterms:modified>
  <dc:language>English-UK</dc:language>
</cp:coreProperties>
</file>